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0"/>
  </p:notesMasterIdLst>
  <p:sldIdLst>
    <p:sldId id="256" r:id="rId5"/>
    <p:sldId id="8015" r:id="rId6"/>
    <p:sldId id="7997" r:id="rId7"/>
    <p:sldId id="8017" r:id="rId8"/>
    <p:sldId id="8016" r:id="rId9"/>
  </p:sldIdLst>
  <p:sldSz cx="12192000" cy="6858000"/>
  <p:notesSz cx="7099300" cy="10234613"/>
  <p:custDataLst>
    <p:tags r:id="rId11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41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89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224">
          <p15:clr>
            <a:srgbClr val="A4A3A4"/>
          </p15:clr>
        </p15:guide>
        <p15:guide id="2" pos="2236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Alexandra Kelly - EVC" initials="AKE" lastIdx="3" clrIdx="0">
    <p:extLst>
      <p:ext uri="{19B8F6BF-5375-455C-9EA6-DF929625EA0E}">
        <p15:presenceInfo xmlns:p15="http://schemas.microsoft.com/office/powerpoint/2012/main" userId="Alexandra Kelly - EVC" providerId="None"/>
      </p:ext>
    </p:extLst>
  </p:cmAuthor>
  <p:cmAuthor id="2" name="Ross De Rango" initials="RR" lastIdx="1" clrIdx="1">
    <p:extLst>
      <p:ext uri="{19B8F6BF-5375-455C-9EA6-DF929625EA0E}">
        <p15:presenceInfo xmlns:p15="http://schemas.microsoft.com/office/powerpoint/2012/main" userId="S::ross@evc.org.au::54b2ea6d-7c45-48b7-8b7b-f9680816bafe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4407C"/>
    <a:srgbClr val="3E4C9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8F41922-2BE9-4C14-A4BF-6205ADEE1723}" v="2" dt="2024-08-20T01:00:00.326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85490" autoAdjust="0"/>
  </p:normalViewPr>
  <p:slideViewPr>
    <p:cSldViewPr snapToGrid="0">
      <p:cViewPr varScale="1">
        <p:scale>
          <a:sx n="94" d="100"/>
          <a:sy n="94" d="100"/>
        </p:scale>
        <p:origin x="1194" y="96"/>
      </p:cViewPr>
      <p:guideLst>
        <p:guide orient="horz" pos="1412"/>
        <p:guide pos="3840"/>
        <p:guide orient="horz" pos="89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224"/>
        <p:guide pos="2236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customXml" Target="../customXml/item3.xml"/><Relationship Id="rId7" Type="http://schemas.openxmlformats.org/officeDocument/2006/relationships/slide" Target="slides/slide3.xml"/><Relationship Id="rId12" Type="http://schemas.openxmlformats.org/officeDocument/2006/relationships/commentAuthors" Target="commentAuthors.xml"/><Relationship Id="rId17" Type="http://schemas.microsoft.com/office/2016/11/relationships/changesInfo" Target="changesInfos/changesInfo1.xml"/><Relationship Id="rId2" Type="http://schemas.openxmlformats.org/officeDocument/2006/relationships/customXml" Target="../customXml/item2.xml"/><Relationship Id="rId16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tags" Target="tags/tag1.xml"/><Relationship Id="rId5" Type="http://schemas.openxmlformats.org/officeDocument/2006/relationships/slide" Target="slides/slide1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Ross De Rango" userId="a2e27578bf7d9b68" providerId="LiveId" clId="{A8F41922-2BE9-4C14-A4BF-6205ADEE1723}"/>
    <pc:docChg chg="custSel addSld delSld modSld sldOrd">
      <pc:chgData name="Ross De Rango" userId="a2e27578bf7d9b68" providerId="LiveId" clId="{A8F41922-2BE9-4C14-A4BF-6205ADEE1723}" dt="2024-08-20T01:04:58.620" v="1256" actId="6549"/>
      <pc:docMkLst>
        <pc:docMk/>
      </pc:docMkLst>
      <pc:sldChg chg="modSp mod">
        <pc:chgData name="Ross De Rango" userId="a2e27578bf7d9b68" providerId="LiveId" clId="{A8F41922-2BE9-4C14-A4BF-6205ADEE1723}" dt="2024-08-19T01:22:25.664" v="109" actId="20577"/>
        <pc:sldMkLst>
          <pc:docMk/>
          <pc:sldMk cId="1853871751" sldId="256"/>
        </pc:sldMkLst>
        <pc:spChg chg="mod">
          <ac:chgData name="Ross De Rango" userId="a2e27578bf7d9b68" providerId="LiveId" clId="{A8F41922-2BE9-4C14-A4BF-6205ADEE1723}" dt="2024-08-19T01:22:25.664" v="109" actId="20577"/>
          <ac:spMkLst>
            <pc:docMk/>
            <pc:sldMk cId="1853871751" sldId="256"/>
            <ac:spMk id="2" creationId="{A29CC903-EBA9-4E4B-BFF0-C45805B1F7E0}"/>
          </ac:spMkLst>
        </pc:spChg>
      </pc:sldChg>
      <pc:sldChg chg="del">
        <pc:chgData name="Ross De Rango" userId="a2e27578bf7d9b68" providerId="LiveId" clId="{A8F41922-2BE9-4C14-A4BF-6205ADEE1723}" dt="2024-08-19T01:23:54.391" v="151" actId="47"/>
        <pc:sldMkLst>
          <pc:docMk/>
          <pc:sldMk cId="2504156193" sldId="314"/>
        </pc:sldMkLst>
      </pc:sldChg>
      <pc:sldChg chg="del ord">
        <pc:chgData name="Ross De Rango" userId="a2e27578bf7d9b68" providerId="LiveId" clId="{A8F41922-2BE9-4C14-A4BF-6205ADEE1723}" dt="2024-08-20T00:55:34.044" v="696" actId="47"/>
        <pc:sldMkLst>
          <pc:docMk/>
          <pc:sldMk cId="4121038427" sldId="7996"/>
        </pc:sldMkLst>
      </pc:sldChg>
      <pc:sldChg chg="ord">
        <pc:chgData name="Ross De Rango" userId="a2e27578bf7d9b68" providerId="LiveId" clId="{A8F41922-2BE9-4C14-A4BF-6205ADEE1723}" dt="2024-08-19T01:23:32.856" v="145"/>
        <pc:sldMkLst>
          <pc:docMk/>
          <pc:sldMk cId="264104747" sldId="7997"/>
        </pc:sldMkLst>
      </pc:sldChg>
      <pc:sldChg chg="del ord">
        <pc:chgData name="Ross De Rango" userId="a2e27578bf7d9b68" providerId="LiveId" clId="{A8F41922-2BE9-4C14-A4BF-6205ADEE1723}" dt="2024-08-20T00:55:34.044" v="696" actId="47"/>
        <pc:sldMkLst>
          <pc:docMk/>
          <pc:sldMk cId="2680400417" sldId="8011"/>
        </pc:sldMkLst>
      </pc:sldChg>
      <pc:sldChg chg="del">
        <pc:chgData name="Ross De Rango" userId="a2e27578bf7d9b68" providerId="LiveId" clId="{A8F41922-2BE9-4C14-A4BF-6205ADEE1723}" dt="2024-08-19T01:23:54.391" v="151" actId="47"/>
        <pc:sldMkLst>
          <pc:docMk/>
          <pc:sldMk cId="3059405538" sldId="8012"/>
        </pc:sldMkLst>
      </pc:sldChg>
      <pc:sldChg chg="del">
        <pc:chgData name="Ross De Rango" userId="a2e27578bf7d9b68" providerId="LiveId" clId="{A8F41922-2BE9-4C14-A4BF-6205ADEE1723}" dt="2024-08-19T01:23:54.391" v="151" actId="47"/>
        <pc:sldMkLst>
          <pc:docMk/>
          <pc:sldMk cId="3386338918" sldId="8013"/>
        </pc:sldMkLst>
      </pc:sldChg>
      <pc:sldChg chg="new del">
        <pc:chgData name="Ross De Rango" userId="a2e27578bf7d9b68" providerId="LiveId" clId="{A8F41922-2BE9-4C14-A4BF-6205ADEE1723}" dt="2024-08-19T01:23:31.017" v="143" actId="47"/>
        <pc:sldMkLst>
          <pc:docMk/>
          <pc:sldMk cId="2621211596" sldId="8014"/>
        </pc:sldMkLst>
      </pc:sldChg>
      <pc:sldChg chg="addSp delSp modSp new mod">
        <pc:chgData name="Ross De Rango" userId="a2e27578bf7d9b68" providerId="LiveId" clId="{A8F41922-2BE9-4C14-A4BF-6205ADEE1723}" dt="2024-08-19T01:23:27.368" v="142" actId="20577"/>
        <pc:sldMkLst>
          <pc:docMk/>
          <pc:sldMk cId="1846941155" sldId="8015"/>
        </pc:sldMkLst>
        <pc:spChg chg="del">
          <ac:chgData name="Ross De Rango" userId="a2e27578bf7d9b68" providerId="LiveId" clId="{A8F41922-2BE9-4C14-A4BF-6205ADEE1723}" dt="2024-08-19T01:23:12.059" v="116" actId="478"/>
          <ac:spMkLst>
            <pc:docMk/>
            <pc:sldMk cId="1846941155" sldId="8015"/>
            <ac:spMk id="2" creationId="{A0C4BF41-8214-CFC4-C65E-E4CDF07F3DEC}"/>
          </ac:spMkLst>
        </pc:spChg>
        <pc:spChg chg="mod">
          <ac:chgData name="Ross De Rango" userId="a2e27578bf7d9b68" providerId="LiveId" clId="{A8F41922-2BE9-4C14-A4BF-6205ADEE1723}" dt="2024-08-19T01:23:27.368" v="142" actId="20577"/>
          <ac:spMkLst>
            <pc:docMk/>
            <pc:sldMk cId="1846941155" sldId="8015"/>
            <ac:spMk id="3" creationId="{7FB15B42-EE2A-EEC7-E8CB-5C0CF3961F21}"/>
          </ac:spMkLst>
        </pc:spChg>
        <pc:picChg chg="add mod">
          <ac:chgData name="Ross De Rango" userId="a2e27578bf7d9b68" providerId="LiveId" clId="{A8F41922-2BE9-4C14-A4BF-6205ADEE1723}" dt="2024-08-19T01:23:19.464" v="119" actId="14100"/>
          <ac:picMkLst>
            <pc:docMk/>
            <pc:sldMk cId="1846941155" sldId="8015"/>
            <ac:picMk id="5" creationId="{025F432A-9FD5-0702-395A-B61AA6622128}"/>
          </ac:picMkLst>
        </pc:picChg>
      </pc:sldChg>
      <pc:sldChg chg="modSp new mod">
        <pc:chgData name="Ross De Rango" userId="a2e27578bf7d9b68" providerId="LiveId" clId="{A8F41922-2BE9-4C14-A4BF-6205ADEE1723}" dt="2024-08-20T01:04:58.620" v="1256" actId="6549"/>
        <pc:sldMkLst>
          <pc:docMk/>
          <pc:sldMk cId="2618310309" sldId="8016"/>
        </pc:sldMkLst>
        <pc:spChg chg="mod">
          <ac:chgData name="Ross De Rango" userId="a2e27578bf7d9b68" providerId="LiveId" clId="{A8F41922-2BE9-4C14-A4BF-6205ADEE1723}" dt="2024-08-20T01:04:58.620" v="1256" actId="6549"/>
          <ac:spMkLst>
            <pc:docMk/>
            <pc:sldMk cId="2618310309" sldId="8016"/>
            <ac:spMk id="2" creationId="{212570EF-C032-EE09-5547-804D5415579E}"/>
          </ac:spMkLst>
        </pc:spChg>
        <pc:spChg chg="mod">
          <ac:chgData name="Ross De Rango" userId="a2e27578bf7d9b68" providerId="LiveId" clId="{A8F41922-2BE9-4C14-A4BF-6205ADEE1723}" dt="2024-08-19T01:26:37.945" v="441" actId="20577"/>
          <ac:spMkLst>
            <pc:docMk/>
            <pc:sldMk cId="2618310309" sldId="8016"/>
            <ac:spMk id="3" creationId="{D6719118-778E-A131-36E0-98E7523A26D2}"/>
          </ac:spMkLst>
        </pc:spChg>
      </pc:sldChg>
      <pc:sldChg chg="addSp delSp modSp new mod">
        <pc:chgData name="Ross De Rango" userId="a2e27578bf7d9b68" providerId="LiveId" clId="{A8F41922-2BE9-4C14-A4BF-6205ADEE1723}" dt="2024-08-20T01:03:58.218" v="1205" actId="20577"/>
        <pc:sldMkLst>
          <pc:docMk/>
          <pc:sldMk cId="3324715167" sldId="8017"/>
        </pc:sldMkLst>
        <pc:spChg chg="del">
          <ac:chgData name="Ross De Rango" userId="a2e27578bf7d9b68" providerId="LiveId" clId="{A8F41922-2BE9-4C14-A4BF-6205ADEE1723}" dt="2024-08-20T00:57:06.377" v="698" actId="478"/>
          <ac:spMkLst>
            <pc:docMk/>
            <pc:sldMk cId="3324715167" sldId="8017"/>
            <ac:spMk id="2" creationId="{C1C21EF6-0CAC-383D-F0AE-B62ADB387F29}"/>
          </ac:spMkLst>
        </pc:spChg>
        <pc:spChg chg="mod">
          <ac:chgData name="Ross De Rango" userId="a2e27578bf7d9b68" providerId="LiveId" clId="{A8F41922-2BE9-4C14-A4BF-6205ADEE1723}" dt="2024-08-20T00:59:42.018" v="891" actId="20577"/>
          <ac:spMkLst>
            <pc:docMk/>
            <pc:sldMk cId="3324715167" sldId="8017"/>
            <ac:spMk id="3" creationId="{FCF33888-E44A-2896-4C35-4F6A127B0D81}"/>
          </ac:spMkLst>
        </pc:spChg>
        <pc:spChg chg="add mod">
          <ac:chgData name="Ross De Rango" userId="a2e27578bf7d9b68" providerId="LiveId" clId="{A8F41922-2BE9-4C14-A4BF-6205ADEE1723}" dt="2024-08-20T01:03:58.218" v="1205" actId="20577"/>
          <ac:spMkLst>
            <pc:docMk/>
            <pc:sldMk cId="3324715167" sldId="8017"/>
            <ac:spMk id="8" creationId="{677F337E-8B3B-BAED-CF06-73C6CDF056E5}"/>
          </ac:spMkLst>
        </pc:spChg>
        <pc:spChg chg="add mod">
          <ac:chgData name="Ross De Rango" userId="a2e27578bf7d9b68" providerId="LiveId" clId="{A8F41922-2BE9-4C14-A4BF-6205ADEE1723}" dt="2024-08-20T01:03:56.123" v="1204" actId="20577"/>
          <ac:spMkLst>
            <pc:docMk/>
            <pc:sldMk cId="3324715167" sldId="8017"/>
            <ac:spMk id="9" creationId="{6A3E19D0-51C4-0583-D5D8-31B1F8127D3C}"/>
          </ac:spMkLst>
        </pc:spChg>
        <pc:picChg chg="add mod">
          <ac:chgData name="Ross De Rango" userId="a2e27578bf7d9b68" providerId="LiveId" clId="{A8F41922-2BE9-4C14-A4BF-6205ADEE1723}" dt="2024-08-20T00:58:01.370" v="706" actId="1076"/>
          <ac:picMkLst>
            <pc:docMk/>
            <pc:sldMk cId="3324715167" sldId="8017"/>
            <ac:picMk id="5" creationId="{495E8D8A-C8E2-5E92-5EB6-EB10CE31424C}"/>
          </ac:picMkLst>
        </pc:picChg>
        <pc:picChg chg="add mod">
          <ac:chgData name="Ross De Rango" userId="a2e27578bf7d9b68" providerId="LiveId" clId="{A8F41922-2BE9-4C14-A4BF-6205ADEE1723}" dt="2024-08-20T00:58:10.046" v="707" actId="1076"/>
          <ac:picMkLst>
            <pc:docMk/>
            <pc:sldMk cId="3324715167" sldId="8017"/>
            <ac:picMk id="7" creationId="{3A32F273-0C25-0EBA-C3FB-83A0A66BCCCE}"/>
          </ac:picMkLst>
        </pc:picChg>
      </pc:sldChg>
    </pc:docChg>
  </pc:docChgLst>
</pc:chgInfo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21294" y="0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/>
          <a:lstStyle>
            <a:lvl1pPr algn="r">
              <a:defRPr sz="1300"/>
            </a:lvl1pPr>
          </a:lstStyle>
          <a:p>
            <a:fld id="{DFB4CBEC-7088-4915-9429-0423401D8AA4}" type="datetimeFigureOut">
              <a:rPr lang="en-AU" smtClean="0"/>
              <a:t>20/08/2024</a:t>
            </a:fld>
            <a:endParaRPr lang="en-AU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39700" y="768350"/>
            <a:ext cx="6819900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48" tIns="49524" rIns="99048" bIns="49524" rtlCol="0" anchor="ctr"/>
          <a:lstStyle/>
          <a:p>
            <a:endParaRPr lang="en-AU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9930" y="4861441"/>
            <a:ext cx="5679440" cy="4605576"/>
          </a:xfrm>
          <a:prstGeom prst="rect">
            <a:avLst/>
          </a:prstGeom>
        </p:spPr>
        <p:txBody>
          <a:bodyPr vert="horz" lIns="99048" tIns="49524" rIns="99048" bIns="4952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l">
              <a:defRPr sz="1300"/>
            </a:lvl1pPr>
          </a:lstStyle>
          <a:p>
            <a:endParaRPr lang="en-AU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21294" y="9721106"/>
            <a:ext cx="3076363" cy="511731"/>
          </a:xfrm>
          <a:prstGeom prst="rect">
            <a:avLst/>
          </a:prstGeom>
        </p:spPr>
        <p:txBody>
          <a:bodyPr vert="horz" lIns="99048" tIns="49524" rIns="99048" bIns="49524" rtlCol="0" anchor="b"/>
          <a:lstStyle>
            <a:lvl1pPr algn="r">
              <a:defRPr sz="1300"/>
            </a:lvl1pPr>
          </a:lstStyle>
          <a:p>
            <a:fld id="{6C03F2D7-00BE-4B8C-A79B-2A7FFB45A5F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26912832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A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C03F2D7-00BE-4B8C-A79B-2A7FFB45A5F2}" type="slidenum">
              <a:rPr lang="en-AU" smtClean="0"/>
              <a:t>1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26142783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8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0.png"/><Relationship Id="rId5" Type="http://schemas.openxmlformats.org/officeDocument/2006/relationships/image" Target="../media/image6.png"/><Relationship Id="rId4" Type="http://schemas.openxmlformats.org/officeDocument/2006/relationships/image" Target="../media/image1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800000" y="3600000"/>
            <a:ext cx="7920000" cy="1332000"/>
          </a:xfrm>
        </p:spPr>
        <p:txBody>
          <a:bodyPr anchor="b">
            <a:normAutofit/>
          </a:bodyPr>
          <a:lstStyle>
            <a:lvl1pPr algn="l">
              <a:defRPr sz="3000" b="1"/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00000" y="5760000"/>
            <a:ext cx="7920000" cy="720000"/>
          </a:xfrm>
        </p:spPr>
        <p:txBody>
          <a:bodyPr>
            <a:normAutofit/>
          </a:bodyPr>
          <a:lstStyle>
            <a:lvl1pPr marL="0" indent="0" algn="l">
              <a:buNone/>
              <a:defRPr sz="22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FF9E-04BE-40EB-B4A7-25FF3C014561}" type="datetimeFigureOut">
              <a:rPr lang="en-AU" smtClean="0"/>
              <a:t>20/08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32000" y="900001"/>
            <a:ext cx="4608000" cy="1894160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4212000"/>
            <a:ext cx="10476000" cy="131026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879511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4216874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/>
          <p:cNvSpPr/>
          <p:nvPr userDrawn="1"/>
        </p:nvSpPr>
        <p:spPr>
          <a:xfrm>
            <a:off x="0" y="5343525"/>
            <a:ext cx="12192000" cy="15144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9588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00000" y="864000"/>
            <a:ext cx="8280000" cy="489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FF9E-04BE-40EB-B4A7-25FF3C014561}" type="datetimeFigureOut">
              <a:rPr lang="en-AU" smtClean="0"/>
              <a:t>20/08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0000"/>
            <a:ext cx="1597238" cy="37439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0" y="6141866"/>
            <a:ext cx="1295999" cy="533106"/>
          </a:xfrm>
          <a:prstGeom prst="rect">
            <a:avLst/>
          </a:prstGeom>
        </p:spPr>
      </p:pic>
      <p:sp>
        <p:nvSpPr>
          <p:cNvPr id="11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1800225" y="5959475"/>
            <a:ext cx="8280400" cy="89852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44646264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Navy -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0000" y="2808000"/>
            <a:ext cx="7920000" cy="1944000"/>
          </a:xfrm>
        </p:spPr>
        <p:txBody>
          <a:bodyPr anchor="t" anchorCtr="0">
            <a:normAutofit/>
          </a:bodyPr>
          <a:lstStyle>
            <a:lvl1pPr>
              <a:lnSpc>
                <a:spcPts val="15000"/>
              </a:lnSpc>
              <a:defRPr sz="1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00000" y="5148000"/>
            <a:ext cx="7920000" cy="1296000"/>
          </a:xfrm>
        </p:spPr>
        <p:txBody>
          <a:bodyPr/>
          <a:lstStyle>
            <a:lvl1pPr marL="0" indent="0">
              <a:lnSpc>
                <a:spcPts val="6000"/>
              </a:lnSpc>
              <a:spcBef>
                <a:spcPts val="0"/>
              </a:spcBef>
              <a:spcAft>
                <a:spcPts val="1200"/>
              </a:spcAft>
              <a:buNone/>
              <a:defRPr sz="6000" b="1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FF9E-04BE-40EB-B4A7-25FF3C014561}" type="datetimeFigureOut">
              <a:rPr lang="en-AU" smtClean="0"/>
              <a:t>20/08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708000"/>
            <a:ext cx="10476000" cy="13011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0" y="900000"/>
            <a:ext cx="1296000" cy="533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460368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y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343525"/>
            <a:ext cx="12192000" cy="151447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9588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FF9E-04BE-40EB-B4A7-25FF3C014561}" type="datetimeFigureOut">
              <a:rPr lang="en-AU" smtClean="0"/>
              <a:t>20/08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0000"/>
            <a:ext cx="1597239" cy="3744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0" y="6141866"/>
            <a:ext cx="1296000" cy="533106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1800225" y="5959475"/>
            <a:ext cx="8280400" cy="89852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95089429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avy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343525"/>
            <a:ext cx="12192000" cy="1514474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9588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00000" y="864000"/>
            <a:ext cx="8280000" cy="489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FF9E-04BE-40EB-B4A7-25FF3C014561}" type="datetimeFigureOut">
              <a:rPr lang="en-AU" smtClean="0"/>
              <a:t>20/08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0000"/>
            <a:ext cx="1597239" cy="3744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0" y="6141866"/>
            <a:ext cx="1296000" cy="533106"/>
          </a:xfrm>
          <a:prstGeom prst="rect">
            <a:avLst/>
          </a:prstGeom>
        </p:spPr>
      </p:pic>
      <p:sp>
        <p:nvSpPr>
          <p:cNvPr id="12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1800225" y="5959475"/>
            <a:ext cx="8280400" cy="89852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1390196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Green -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0000" y="2808000"/>
            <a:ext cx="7920000" cy="1944000"/>
          </a:xfrm>
        </p:spPr>
        <p:txBody>
          <a:bodyPr anchor="t" anchorCtr="0">
            <a:normAutofit/>
          </a:bodyPr>
          <a:lstStyle>
            <a:lvl1pPr>
              <a:lnSpc>
                <a:spcPts val="15000"/>
              </a:lnSpc>
              <a:defRPr sz="1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00000" y="5148000"/>
            <a:ext cx="7920000" cy="1296000"/>
          </a:xfrm>
        </p:spPr>
        <p:txBody>
          <a:bodyPr/>
          <a:lstStyle>
            <a:lvl1pPr marL="0" indent="0">
              <a:lnSpc>
                <a:spcPts val="6000"/>
              </a:lnSpc>
              <a:spcBef>
                <a:spcPts val="0"/>
              </a:spcBef>
              <a:spcAft>
                <a:spcPts val="1200"/>
              </a:spcAft>
              <a:buNone/>
              <a:defRPr sz="6000" b="1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FF9E-04BE-40EB-B4A7-25FF3C014561}" type="datetimeFigureOut">
              <a:rPr lang="en-AU" smtClean="0"/>
              <a:t>20/08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708000"/>
            <a:ext cx="10476000" cy="13011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0" y="900000"/>
            <a:ext cx="1295999" cy="533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24960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343525"/>
            <a:ext cx="12192000" cy="15144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9588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2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FF9E-04BE-40EB-B4A7-25FF3C014561}" type="datetimeFigureOut">
              <a:rPr lang="en-AU" smtClean="0"/>
              <a:t>20/08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0000"/>
            <a:ext cx="1597238" cy="3744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0" y="6141866"/>
            <a:ext cx="1295999" cy="533106"/>
          </a:xfrm>
          <a:prstGeom prst="rect">
            <a:avLst/>
          </a:prstGeom>
        </p:spPr>
      </p:pic>
      <p:sp>
        <p:nvSpPr>
          <p:cNvPr id="11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1800225" y="5959475"/>
            <a:ext cx="8280400" cy="89852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3851640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Green -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343525"/>
            <a:ext cx="12192000" cy="151447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958840"/>
          </a:xfrm>
          <a:prstGeom prst="rect">
            <a:avLst/>
          </a:prstGeom>
        </p:spPr>
      </p:pic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800000" y="864000"/>
            <a:ext cx="8280000" cy="489600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FF9E-04BE-40EB-B4A7-25FF3C014561}" type="datetimeFigureOut">
              <a:rPr lang="en-AU" smtClean="0"/>
              <a:t>20/08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0000"/>
            <a:ext cx="1597238" cy="3744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0" y="6141866"/>
            <a:ext cx="1295999" cy="533106"/>
          </a:xfrm>
          <a:prstGeom prst="rect">
            <a:avLst/>
          </a:prstGeom>
        </p:spPr>
      </p:pic>
      <p:sp>
        <p:nvSpPr>
          <p:cNvPr id="11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1800225" y="5959475"/>
            <a:ext cx="8280400" cy="89852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7612576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lue - 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800000" y="2808000"/>
            <a:ext cx="7920000" cy="1944000"/>
          </a:xfrm>
        </p:spPr>
        <p:txBody>
          <a:bodyPr anchor="t" anchorCtr="0">
            <a:normAutofit/>
          </a:bodyPr>
          <a:lstStyle>
            <a:lvl1pPr>
              <a:lnSpc>
                <a:spcPts val="15000"/>
              </a:lnSpc>
              <a:defRPr sz="15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00000" y="5148000"/>
            <a:ext cx="7920000" cy="1296000"/>
          </a:xfrm>
        </p:spPr>
        <p:txBody>
          <a:bodyPr/>
          <a:lstStyle>
            <a:lvl1pPr marL="0" indent="0">
              <a:lnSpc>
                <a:spcPts val="6000"/>
              </a:lnSpc>
              <a:spcBef>
                <a:spcPts val="0"/>
              </a:spcBef>
              <a:spcAft>
                <a:spcPts val="1200"/>
              </a:spcAft>
              <a:buNone/>
              <a:defRPr sz="6000" b="1" cap="none" baseline="0">
                <a:solidFill>
                  <a:schemeClr val="bg1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FF9E-04BE-40EB-B4A7-25FF3C014561}" type="datetimeFigureOut">
              <a:rPr lang="en-AU" smtClean="0"/>
              <a:t>20/08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3708000"/>
            <a:ext cx="10476000" cy="1301120"/>
          </a:xfrm>
          <a:prstGeom prst="rect">
            <a:avLst/>
          </a:prstGeom>
        </p:spPr>
      </p:pic>
      <p:pic>
        <p:nvPicPr>
          <p:cNvPr id="9" name="Picture 8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0" y="900000"/>
            <a:ext cx="1295999" cy="53310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80813009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ue -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5343525"/>
            <a:ext cx="12192000" cy="151447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59588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2E7FF9E-04BE-40EB-B4A7-25FF3C014561}" type="datetimeFigureOut">
              <a:rPr lang="en-AU" smtClean="0"/>
              <a:t>20/08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900000"/>
            <a:ext cx="1597238" cy="37439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00" y="6141866"/>
            <a:ext cx="1295999" cy="533106"/>
          </a:xfrm>
          <a:prstGeom prst="rect">
            <a:avLst/>
          </a:prstGeom>
        </p:spPr>
      </p:pic>
      <p:sp>
        <p:nvSpPr>
          <p:cNvPr id="11" name="Text Placeholder 11"/>
          <p:cNvSpPr>
            <a:spLocks noGrp="1"/>
          </p:cNvSpPr>
          <p:nvPr>
            <p:ph type="body" sz="quarter" idx="13"/>
          </p:nvPr>
        </p:nvSpPr>
        <p:spPr>
          <a:xfrm>
            <a:off x="1800225" y="5959475"/>
            <a:ext cx="8280400" cy="898525"/>
          </a:xfrm>
        </p:spPr>
        <p:txBody>
          <a:bodyPr anchor="ctr" anchorCtr="0"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3203421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ags" Target="../tags/tag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/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114483851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270" imgH="270" progId="TCLayout.ActiveDocument.1">
                  <p:embed/>
                </p:oleObj>
              </mc:Choice>
              <mc:Fallback>
                <p:oleObj name="think-cell Slide" r:id="rId13" imgW="270" imgH="270" progId="TCLayout.ActiveDocument.1">
                  <p:embed/>
                  <p:pic>
                    <p:nvPicPr>
                      <p:cNvPr id="7" name="Object 6" hidden="1"/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800000" y="864000"/>
            <a:ext cx="8280000" cy="1008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800000" y="2340000"/>
            <a:ext cx="8280000" cy="34200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AU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14300" y="6534150"/>
            <a:ext cx="1685700" cy="32385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2E7FF9E-04BE-40EB-B4A7-25FF3C014561}" type="datetimeFigureOut">
              <a:rPr lang="en-AU" smtClean="0"/>
              <a:t>20/08/2024</a:t>
            </a:fld>
            <a:endParaRPr lang="en-AU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800000" y="6534150"/>
            <a:ext cx="6353400" cy="32385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AU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706225" y="6534150"/>
            <a:ext cx="361950" cy="323850"/>
          </a:xfrm>
          <a:prstGeom prst="rect">
            <a:avLst/>
          </a:prstGeom>
        </p:spPr>
        <p:txBody>
          <a:bodyPr vert="horz" lIns="0" tIns="0" rIns="0" bIns="0" rtlCol="0" anchor="ctr" anchorCtr="0">
            <a:noAutofit/>
          </a:bodyPr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F9302FD-8F09-4624-BC01-D52D5FFCF582}" type="slidenum">
              <a:rPr lang="en-AU" smtClean="0"/>
              <a:t>‹#›</a:t>
            </a:fld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18804423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1" r:id="rId2"/>
    <p:sldLayoutId id="2147483650" r:id="rId3"/>
    <p:sldLayoutId id="2147483656" r:id="rId4"/>
    <p:sldLayoutId id="2147483652" r:id="rId5"/>
    <p:sldLayoutId id="2147483653" r:id="rId6"/>
    <p:sldLayoutId id="2147483657" r:id="rId7"/>
    <p:sldLayoutId id="2147483654" r:id="rId8"/>
    <p:sldLayoutId id="2147483655" r:id="rId9"/>
    <p:sldLayoutId id="2147483658" r:id="rId10"/>
  </p:sldLayoutIdLst>
  <p:txStyles>
    <p:titleStyle>
      <a:lvl1pPr algn="l" defTabSz="914400" rtl="0" eaLnBrk="1" latinLnBrk="0" hangingPunct="1">
        <a:lnSpc>
          <a:spcPts val="3600"/>
        </a:lnSpc>
        <a:spcBef>
          <a:spcPct val="0"/>
        </a:spcBef>
        <a:spcAft>
          <a:spcPts val="1200"/>
        </a:spcAft>
        <a:buNone/>
        <a:defRPr sz="3000" kern="12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ts val="2600"/>
        </a:lnSpc>
        <a:spcBef>
          <a:spcPts val="600"/>
        </a:spcBef>
        <a:buFont typeface="Arial" panose="020B0604020202020204" pitchFamily="34" charset="0"/>
        <a:buNone/>
        <a:defRPr sz="2200" kern="1200" cap="all" baseline="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14400" rtl="0" eaLnBrk="1" latinLnBrk="0" hangingPunct="1">
        <a:lnSpc>
          <a:spcPts val="1900"/>
        </a:lnSpc>
        <a:spcBef>
          <a:spcPts val="600"/>
        </a:spcBef>
        <a:buFont typeface="Arial" panose="020B0604020202020204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2pPr>
      <a:lvl3pPr marL="180975" indent="-180975" algn="l" defTabSz="914400" rtl="0" eaLnBrk="1" latinLnBrk="0" hangingPunct="1">
        <a:lnSpc>
          <a:spcPts val="1900"/>
        </a:lnSpc>
        <a:spcBef>
          <a:spcPts val="600"/>
        </a:spcBef>
        <a:buFont typeface="Arial" panose="020B0604020202020204" pitchFamily="34" charset="0"/>
        <a:buChar char="•"/>
        <a:defRPr sz="1600" kern="1200">
          <a:solidFill>
            <a:schemeClr val="tx2"/>
          </a:solidFill>
          <a:latin typeface="+mn-lt"/>
          <a:ea typeface="+mn-ea"/>
          <a:cs typeface="+mn-cs"/>
        </a:defRPr>
      </a:lvl3pPr>
      <a:lvl4pPr marL="361950" indent="-180975" algn="l" defTabSz="914400" rtl="0" eaLnBrk="1" latinLnBrk="0" hangingPunct="1">
        <a:lnSpc>
          <a:spcPts val="1900"/>
        </a:lnSpc>
        <a:spcBef>
          <a:spcPts val="600"/>
        </a:spcBef>
        <a:buFont typeface="Arial Narrow" panose="020B0606020202030204" pitchFamily="34" charset="0"/>
        <a:buChar char="–"/>
        <a:defRPr sz="1600" kern="1200">
          <a:solidFill>
            <a:schemeClr val="tx2"/>
          </a:solidFill>
          <a:latin typeface="+mn-lt"/>
          <a:ea typeface="+mn-ea"/>
          <a:cs typeface="+mn-cs"/>
        </a:defRPr>
      </a:lvl4pPr>
      <a:lvl5pPr marL="542925" indent="-180975" algn="l" defTabSz="914400" rtl="0" eaLnBrk="1" latinLnBrk="0" hangingPunct="1">
        <a:lnSpc>
          <a:spcPts val="1900"/>
        </a:lnSpc>
        <a:spcBef>
          <a:spcPts val="600"/>
        </a:spcBef>
        <a:buFont typeface="Arial Narrow" panose="020B0606020202030204" pitchFamily="34" charset="0"/>
        <a:buChar char="◦"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4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4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29CC903-EBA9-4E4B-BFF0-C45805B1F7E0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00001" y="3051672"/>
            <a:ext cx="8049080" cy="2067614"/>
          </a:xfrm>
        </p:spPr>
        <p:txBody>
          <a:bodyPr>
            <a:normAutofit/>
          </a:bodyPr>
          <a:lstStyle/>
          <a:p>
            <a:pPr>
              <a:lnSpc>
                <a:spcPct val="100000"/>
              </a:lnSpc>
            </a:pPr>
            <a:r>
              <a:rPr lang="en-AU" sz="4000" dirty="0">
                <a:latin typeface="Calibri" panose="020F0502020204030204" pitchFamily="34" charset="0"/>
                <a:ea typeface="Calibri" panose="020F0502020204030204" pitchFamily="34" charset="0"/>
              </a:rPr>
              <a:t>MTF Online forum</a:t>
            </a:r>
            <a:br>
              <a:rPr lang="en-AU" sz="4000" dirty="0">
                <a:latin typeface="Calibri" panose="020F0502020204030204" pitchFamily="34" charset="0"/>
                <a:ea typeface="Calibri" panose="020F0502020204030204" pitchFamily="34" charset="0"/>
              </a:rPr>
            </a:br>
            <a:r>
              <a:rPr lang="en-AU" sz="4000" dirty="0">
                <a:latin typeface="Calibri" panose="020F0502020204030204" pitchFamily="34" charset="0"/>
                <a:ea typeface="Calibri" panose="020F0502020204030204" pitchFamily="34" charset="0"/>
              </a:rPr>
              <a:t>EVs and their infrastructure</a:t>
            </a:r>
            <a:endParaRPr lang="en-AU" sz="4000" dirty="0">
              <a:latin typeface="Calibri" panose="020F0502020204030204" pitchFamily="34" charset="0"/>
            </a:endParaRP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F8A10096-87A4-4C0B-9E8E-16BF8CB0B694}"/>
              </a:ext>
            </a:extLst>
          </p:cNvPr>
          <p:cNvSpPr>
            <a:spLocks noGrp="1"/>
          </p:cNvSpPr>
          <p:nvPr>
            <p:ph type="subTitle" idx="1"/>
          </p:nvPr>
        </p:nvSpPr>
        <p:spPr/>
        <p:txBody>
          <a:bodyPr>
            <a:normAutofit fontScale="92500"/>
          </a:bodyPr>
          <a:lstStyle/>
          <a:p>
            <a:r>
              <a:rPr lang="en-US" dirty="0"/>
              <a:t>ross de </a:t>
            </a:r>
            <a:r>
              <a:rPr lang="en-US" dirty="0" err="1"/>
              <a:t>rango</a:t>
            </a:r>
            <a:endParaRPr lang="en-US" dirty="0"/>
          </a:p>
          <a:p>
            <a:r>
              <a:rPr lang="en-US" dirty="0"/>
              <a:t>head of energy and infrastructure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18538717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7FB15B42-EE2A-EEC7-E8CB-5C0CF3961F2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EV sales in </a:t>
            </a:r>
            <a:r>
              <a:rPr lang="en-AU" dirty="0" err="1"/>
              <a:t>australia</a:t>
            </a:r>
            <a:endParaRPr lang="en-AU" dirty="0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025F432A-9FD5-0702-395A-B61AA662212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800225" y="827112"/>
            <a:ext cx="10131037" cy="45830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6941155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6ECD455-5501-0BA3-0FD5-DE225B511FAD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housing mix, tenure type – installing charging at home</a:t>
            </a:r>
          </a:p>
        </p:txBody>
      </p:sp>
      <p:graphicFrame>
        <p:nvGraphicFramePr>
          <p:cNvPr id="4" name="Table 4">
            <a:extLst>
              <a:ext uri="{FF2B5EF4-FFF2-40B4-BE49-F238E27FC236}">
                <a16:creationId xmlns:a16="http://schemas.microsoft.com/office/drawing/2014/main" id="{B7E1F3FD-2DB4-DDF3-0522-659DDA0A482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76527458"/>
              </p:ext>
            </p:extLst>
          </p:nvPr>
        </p:nvGraphicFramePr>
        <p:xfrm>
          <a:off x="1983105" y="301656"/>
          <a:ext cx="9188996" cy="457013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297249">
                  <a:extLst>
                    <a:ext uri="{9D8B030D-6E8A-4147-A177-3AD203B41FA5}">
                      <a16:colId xmlns:a16="http://schemas.microsoft.com/office/drawing/2014/main" val="625161439"/>
                    </a:ext>
                  </a:extLst>
                </a:gridCol>
                <a:gridCol w="2297249">
                  <a:extLst>
                    <a:ext uri="{9D8B030D-6E8A-4147-A177-3AD203B41FA5}">
                      <a16:colId xmlns:a16="http://schemas.microsoft.com/office/drawing/2014/main" val="3704806435"/>
                    </a:ext>
                  </a:extLst>
                </a:gridCol>
                <a:gridCol w="2297249">
                  <a:extLst>
                    <a:ext uri="{9D8B030D-6E8A-4147-A177-3AD203B41FA5}">
                      <a16:colId xmlns:a16="http://schemas.microsoft.com/office/drawing/2014/main" val="1816346691"/>
                    </a:ext>
                  </a:extLst>
                </a:gridCol>
                <a:gridCol w="2297249">
                  <a:extLst>
                    <a:ext uri="{9D8B030D-6E8A-4147-A177-3AD203B41FA5}">
                      <a16:colId xmlns:a16="http://schemas.microsoft.com/office/drawing/2014/main" val="1823853305"/>
                    </a:ext>
                  </a:extLst>
                </a:gridCol>
              </a:tblGrid>
              <a:tr h="1369730">
                <a:tc>
                  <a:txBody>
                    <a:bodyPr/>
                    <a:lstStyle/>
                    <a:p>
                      <a:endParaRPr lang="en-A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Standalone home with off street parking (~75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Strata development with allocated off street parking (~15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Housing without off-street parking (</a:t>
                      </a:r>
                      <a:r>
                        <a:rPr lang="en-AU" dirty="0" err="1"/>
                        <a:t>eg</a:t>
                      </a:r>
                      <a:r>
                        <a:rPr lang="en-AU" dirty="0"/>
                        <a:t>, terrace house (~10%)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45767244"/>
                  </a:ext>
                </a:extLst>
              </a:tr>
              <a:tr h="555502">
                <a:tc>
                  <a:txBody>
                    <a:bodyPr/>
                    <a:lstStyle/>
                    <a:p>
                      <a:r>
                        <a:rPr lang="en-AU" dirty="0"/>
                        <a:t>Owned (~68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Very Easy.</a:t>
                      </a:r>
                    </a:p>
                    <a:p>
                      <a:endParaRPr lang="en-AU" dirty="0"/>
                    </a:p>
                    <a:p>
                      <a:r>
                        <a:rPr lang="en-AU" dirty="0"/>
                        <a:t>Existing </a:t>
                      </a:r>
                      <a:r>
                        <a:rPr lang="en-AU" dirty="0" err="1"/>
                        <a:t>powerpoint</a:t>
                      </a:r>
                      <a:r>
                        <a:rPr lang="en-AU" dirty="0"/>
                        <a:t> ($0).</a:t>
                      </a:r>
                    </a:p>
                    <a:p>
                      <a:r>
                        <a:rPr lang="en-AU" dirty="0"/>
                        <a:t>Install a charger ($2k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Difficult.</a:t>
                      </a:r>
                    </a:p>
                    <a:p>
                      <a:endParaRPr lang="en-AU" dirty="0"/>
                    </a:p>
                    <a:p>
                      <a:r>
                        <a:rPr lang="en-AU" dirty="0"/>
                        <a:t>Requires majority agreement within body corporate, and a plan…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Very difficult.</a:t>
                      </a:r>
                    </a:p>
                    <a:p>
                      <a:endParaRPr lang="en-AU" dirty="0"/>
                    </a:p>
                    <a:p>
                      <a:r>
                        <a:rPr lang="en-AU" dirty="0"/>
                        <a:t>Trials underway, looking at wiring under the footpath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05565393"/>
                  </a:ext>
                </a:extLst>
              </a:tr>
              <a:tr h="555502">
                <a:tc>
                  <a:txBody>
                    <a:bodyPr/>
                    <a:lstStyle/>
                    <a:p>
                      <a:r>
                        <a:rPr lang="en-AU" dirty="0"/>
                        <a:t>Renter (~32%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Relatively easy.</a:t>
                      </a:r>
                    </a:p>
                    <a:p>
                      <a:endParaRPr lang="en-AU" dirty="0"/>
                    </a:p>
                    <a:p>
                      <a:r>
                        <a:rPr lang="en-AU" dirty="0"/>
                        <a:t>Existing </a:t>
                      </a:r>
                      <a:r>
                        <a:rPr lang="en-AU" dirty="0" err="1"/>
                        <a:t>powerpoint</a:t>
                      </a:r>
                      <a:r>
                        <a:rPr lang="en-AU" dirty="0"/>
                        <a:t> ($0)</a:t>
                      </a:r>
                    </a:p>
                    <a:p>
                      <a:r>
                        <a:rPr lang="en-AU" dirty="0"/>
                        <a:t>With landlords </a:t>
                      </a:r>
                      <a:r>
                        <a:rPr lang="en-AU" dirty="0" err="1"/>
                        <a:t>pemission</a:t>
                      </a:r>
                      <a:r>
                        <a:rPr lang="en-AU" dirty="0"/>
                        <a:t>, charger ($2k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Very difficult.</a:t>
                      </a:r>
                    </a:p>
                    <a:p>
                      <a:endParaRPr lang="en-AU" dirty="0"/>
                    </a:p>
                    <a:p>
                      <a:r>
                        <a:rPr lang="en-AU" dirty="0"/>
                        <a:t>Same as above, but the resident does not have direct standing to make the case.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AU" dirty="0"/>
                        <a:t>Almost impossible.</a:t>
                      </a:r>
                    </a:p>
                    <a:p>
                      <a:endParaRPr lang="en-AU" dirty="0"/>
                    </a:p>
                    <a:p>
                      <a:r>
                        <a:rPr lang="en-AU" dirty="0"/>
                        <a:t>These people most likely to use public charging infrastructure instead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17747559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A32DC8F6-9519-DC6F-8F9B-0716949FC519}"/>
              </a:ext>
            </a:extLst>
          </p:cNvPr>
          <p:cNvSpPr txBox="1"/>
          <p:nvPr/>
        </p:nvSpPr>
        <p:spPr>
          <a:xfrm>
            <a:off x="6766561" y="5303206"/>
            <a:ext cx="20247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NCC2022 changes will help here</a:t>
            </a: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CEADEB90-2EAE-9FD0-845D-B006332F1C30}"/>
              </a:ext>
            </a:extLst>
          </p:cNvPr>
          <p:cNvSpPr txBox="1"/>
          <p:nvPr/>
        </p:nvSpPr>
        <p:spPr>
          <a:xfrm>
            <a:off x="9167540" y="5303206"/>
            <a:ext cx="182617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Public charging will help her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E42F4599-03D1-D1C9-088B-C85692EC582F}"/>
              </a:ext>
            </a:extLst>
          </p:cNvPr>
          <p:cNvSpPr txBox="1"/>
          <p:nvPr/>
        </p:nvSpPr>
        <p:spPr>
          <a:xfrm>
            <a:off x="4552860" y="5303206"/>
            <a:ext cx="2024743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AU" b="1" dirty="0"/>
              <a:t>Not much help needed here!</a:t>
            </a:r>
          </a:p>
        </p:txBody>
      </p:sp>
      <p:sp>
        <p:nvSpPr>
          <p:cNvPr id="8" name="Arrow: Down 7">
            <a:extLst>
              <a:ext uri="{FF2B5EF4-FFF2-40B4-BE49-F238E27FC236}">
                <a16:creationId xmlns:a16="http://schemas.microsoft.com/office/drawing/2014/main" id="{A8263DE7-53EC-4D9C-E517-2E093348EE31}"/>
              </a:ext>
            </a:extLst>
          </p:cNvPr>
          <p:cNvSpPr/>
          <p:nvPr/>
        </p:nvSpPr>
        <p:spPr>
          <a:xfrm rot="10800000">
            <a:off x="4973774" y="4970103"/>
            <a:ext cx="796834" cy="33310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9" name="Arrow: Down 8">
            <a:extLst>
              <a:ext uri="{FF2B5EF4-FFF2-40B4-BE49-F238E27FC236}">
                <a16:creationId xmlns:a16="http://schemas.microsoft.com/office/drawing/2014/main" id="{5D7B87C8-28B6-B140-E324-234C4858B2B4}"/>
              </a:ext>
            </a:extLst>
          </p:cNvPr>
          <p:cNvSpPr/>
          <p:nvPr/>
        </p:nvSpPr>
        <p:spPr>
          <a:xfrm rot="10800000">
            <a:off x="7281545" y="4970103"/>
            <a:ext cx="796834" cy="33310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  <p:sp>
        <p:nvSpPr>
          <p:cNvPr id="10" name="Arrow: Down 9">
            <a:extLst>
              <a:ext uri="{FF2B5EF4-FFF2-40B4-BE49-F238E27FC236}">
                <a16:creationId xmlns:a16="http://schemas.microsoft.com/office/drawing/2014/main" id="{BBE0FE0D-DB0A-C0DD-5F96-67E17889B9E0}"/>
              </a:ext>
            </a:extLst>
          </p:cNvPr>
          <p:cNvSpPr/>
          <p:nvPr/>
        </p:nvSpPr>
        <p:spPr>
          <a:xfrm rot="10800000">
            <a:off x="9589315" y="4970103"/>
            <a:ext cx="796834" cy="333103"/>
          </a:xfrm>
          <a:prstGeom prst="down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AU"/>
          </a:p>
        </p:txBody>
      </p:sp>
    </p:spTree>
    <p:extLst>
      <p:ext uri="{BB962C8B-B14F-4D97-AF65-F5344CB8AC3E}">
        <p14:creationId xmlns:p14="http://schemas.microsoft.com/office/powerpoint/2010/main" val="26410474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CF33888-E44A-2896-4C35-4F6A127B0D8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Key Roles for local government in public EV charging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495E8D8A-C8E2-5E92-5EB6-EB10CE31424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023358" y="553615"/>
            <a:ext cx="4072642" cy="302299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3A32F273-0C25-0EBA-C3FB-83A0A66BCCCE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93235" y="553615"/>
            <a:ext cx="4098013" cy="3022992"/>
          </a:xfrm>
          <a:prstGeom prst="rect">
            <a:avLst/>
          </a:prstGeom>
        </p:spPr>
      </p:pic>
      <p:sp>
        <p:nvSpPr>
          <p:cNvPr id="8" name="Content Placeholder 1">
            <a:extLst>
              <a:ext uri="{FF2B5EF4-FFF2-40B4-BE49-F238E27FC236}">
                <a16:creationId xmlns:a16="http://schemas.microsoft.com/office/drawing/2014/main" id="{677F337E-8B3B-BAED-CF06-73C6CDF056E5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2023358" y="3810000"/>
            <a:ext cx="4438240" cy="1746800"/>
          </a:xfrm>
        </p:spPr>
        <p:txBody>
          <a:bodyPr/>
          <a:lstStyle/>
          <a:p>
            <a:r>
              <a:rPr lang="en-AU" b="1" cap="none" dirty="0"/>
              <a:t>Pole mounted chargers</a:t>
            </a:r>
          </a:p>
          <a:p>
            <a:endParaRPr lang="en-AU" cap="none" dirty="0"/>
          </a:p>
          <a:p>
            <a:r>
              <a:rPr lang="en-AU" cap="none" dirty="0"/>
              <a:t>Collaborate with CPO &amp; DNSP</a:t>
            </a:r>
          </a:p>
          <a:p>
            <a:r>
              <a:rPr lang="en-AU" cap="none" dirty="0"/>
              <a:t>Support with community engagement</a:t>
            </a:r>
          </a:p>
          <a:p>
            <a:r>
              <a:rPr lang="en-AU" i="1" cap="none" dirty="0"/>
              <a:t>Recharging time: 4 to 8 hours</a:t>
            </a:r>
          </a:p>
        </p:txBody>
      </p:sp>
      <p:sp>
        <p:nvSpPr>
          <p:cNvPr id="9" name="Content Placeholder 1">
            <a:extLst>
              <a:ext uri="{FF2B5EF4-FFF2-40B4-BE49-F238E27FC236}">
                <a16:creationId xmlns:a16="http://schemas.microsoft.com/office/drawing/2014/main" id="{6A3E19D0-51C4-0583-D5D8-31B1F8127D3C}"/>
              </a:ext>
            </a:extLst>
          </p:cNvPr>
          <p:cNvSpPr txBox="1">
            <a:spLocks/>
          </p:cNvSpPr>
          <p:nvPr/>
        </p:nvSpPr>
        <p:spPr>
          <a:xfrm>
            <a:off x="6993235" y="3810000"/>
            <a:ext cx="4438240" cy="17468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 marL="0" indent="0" algn="l" defTabSz="914400" rtl="0" eaLnBrk="1" latinLnBrk="0" hangingPunct="1">
              <a:lnSpc>
                <a:spcPts val="2600"/>
              </a:lnSpc>
              <a:spcBef>
                <a:spcPts val="600"/>
              </a:spcBef>
              <a:buFont typeface="Arial" panose="020B0604020202020204" pitchFamily="34" charset="0"/>
              <a:buNone/>
              <a:defRPr sz="2200" kern="1200" cap="all" baseline="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0" indent="0" algn="l" defTabSz="914400" rtl="0" eaLnBrk="1" latinLnBrk="0" hangingPunct="1">
              <a:lnSpc>
                <a:spcPts val="1900"/>
              </a:lnSpc>
              <a:spcBef>
                <a:spcPts val="600"/>
              </a:spcBef>
              <a:buFont typeface="Arial" panose="020B0604020202020204" pitchFamily="34" charset="0"/>
              <a:buNone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2pPr>
            <a:lvl3pPr marL="180975" indent="-180975" algn="l" defTabSz="914400" rtl="0" eaLnBrk="1" latinLnBrk="0" hangingPunct="1">
              <a:lnSpc>
                <a:spcPts val="1900"/>
              </a:lnSpc>
              <a:spcBef>
                <a:spcPts val="600"/>
              </a:spcBef>
              <a:buFont typeface="Arial" panose="020B0604020202020204" pitchFamily="34" charset="0"/>
              <a:buChar char="•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3pPr>
            <a:lvl4pPr marL="361950" indent="-180975" algn="l" defTabSz="914400" rtl="0" eaLnBrk="1" latinLnBrk="0" hangingPunct="1">
              <a:lnSpc>
                <a:spcPts val="1900"/>
              </a:lnSpc>
              <a:spcBef>
                <a:spcPts val="600"/>
              </a:spcBef>
              <a:buFont typeface="Arial Narrow" panose="020B0606020202030204" pitchFamily="34" charset="0"/>
              <a:buChar char="–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4pPr>
            <a:lvl5pPr marL="542925" indent="-180975" algn="l" defTabSz="914400" rtl="0" eaLnBrk="1" latinLnBrk="0" hangingPunct="1">
              <a:lnSpc>
                <a:spcPts val="1900"/>
              </a:lnSpc>
              <a:spcBef>
                <a:spcPts val="600"/>
              </a:spcBef>
              <a:buFont typeface="Arial Narrow" panose="020B0606020202030204" pitchFamily="34" charset="0"/>
              <a:buChar char="◦"/>
              <a:defRPr sz="16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b="1" cap="none" dirty="0"/>
              <a:t>Fast chargers</a:t>
            </a:r>
          </a:p>
          <a:p>
            <a:endParaRPr lang="en-AU" cap="none" dirty="0"/>
          </a:p>
          <a:p>
            <a:r>
              <a:rPr lang="en-AU" cap="none" dirty="0"/>
              <a:t>Zero cost leases for car parking space</a:t>
            </a:r>
          </a:p>
          <a:p>
            <a:r>
              <a:rPr lang="en-AU" cap="none" dirty="0"/>
              <a:t>Support with community engagement</a:t>
            </a:r>
          </a:p>
          <a:p>
            <a:r>
              <a:rPr lang="en-AU" i="1" cap="none" dirty="0"/>
              <a:t>Recharging time: 15 to 60 minutes</a:t>
            </a:r>
          </a:p>
        </p:txBody>
      </p:sp>
    </p:spTree>
    <p:extLst>
      <p:ext uri="{BB962C8B-B14F-4D97-AF65-F5344CB8AC3E}">
        <p14:creationId xmlns:p14="http://schemas.microsoft.com/office/powerpoint/2010/main" val="33247151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212570EF-C032-EE09-5547-804D5415579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AU" cap="none" dirty="0"/>
              <a:t>Google:  </a:t>
            </a:r>
            <a:r>
              <a:rPr lang="en-AU" b="1" cap="none" dirty="0"/>
              <a:t>EVC Guidelines</a:t>
            </a:r>
          </a:p>
          <a:p>
            <a:r>
              <a:rPr lang="en-AU" cap="none" dirty="0"/>
              <a:t>Recommended DCPs for apartments.</a:t>
            </a:r>
          </a:p>
          <a:p>
            <a:r>
              <a:rPr lang="en-AU" cap="none" dirty="0"/>
              <a:t>Compilation of installation rules.</a:t>
            </a:r>
          </a:p>
          <a:p>
            <a:r>
              <a:rPr lang="en-AU" cap="none" dirty="0"/>
              <a:t>Maximum demand determination materials.</a:t>
            </a:r>
          </a:p>
          <a:p>
            <a:endParaRPr lang="en-AU" cap="none" dirty="0"/>
          </a:p>
          <a:p>
            <a:r>
              <a:rPr lang="en-AU" cap="none" dirty="0"/>
              <a:t>Google:  </a:t>
            </a:r>
            <a:r>
              <a:rPr lang="en-AU" b="1" cap="none" dirty="0"/>
              <a:t>EVC Consumer Hub</a:t>
            </a:r>
          </a:p>
          <a:p>
            <a:r>
              <a:rPr lang="en-AU" cap="none" dirty="0"/>
              <a:t>Lifecycle emissions, cost calculator, home charging guide, etc </a:t>
            </a:r>
            <a:r>
              <a:rPr lang="en-AU" cap="none" dirty="0" err="1"/>
              <a:t>etc</a:t>
            </a:r>
            <a:r>
              <a:rPr lang="en-AU" cap="none" dirty="0"/>
              <a:t>.</a:t>
            </a:r>
          </a:p>
          <a:p>
            <a:endParaRPr lang="en-AU" cap="none" dirty="0"/>
          </a:p>
          <a:p>
            <a:r>
              <a:rPr lang="en-AU" b="1" cap="none" dirty="0"/>
              <a:t>Coming soon:</a:t>
            </a:r>
          </a:p>
          <a:p>
            <a:r>
              <a:rPr lang="en-AU" cap="none" dirty="0"/>
              <a:t>Retailer comparison tool, helping drivers find good deals for home charging.</a:t>
            </a:r>
          </a:p>
          <a:p>
            <a:r>
              <a:rPr lang="en-AU" cap="none" dirty="0"/>
              <a:t>LGA / CPO template lease agreements, supporting public charging deployments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6719118-778E-A131-36E0-98E7523A26D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AU" dirty="0"/>
              <a:t>RESOURCES</a:t>
            </a:r>
          </a:p>
        </p:txBody>
      </p:sp>
    </p:spTree>
    <p:extLst>
      <p:ext uri="{BB962C8B-B14F-4D97-AF65-F5344CB8AC3E}">
        <p14:creationId xmlns:p14="http://schemas.microsoft.com/office/powerpoint/2010/main" val="261831030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38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2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/%m/%Y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ACT Electric Vehicles">
      <a:dk1>
        <a:sysClr val="windowText" lastClr="000000"/>
      </a:dk1>
      <a:lt1>
        <a:sysClr val="window" lastClr="FFFFFF"/>
      </a:lt1>
      <a:dk2>
        <a:srgbClr val="28315F"/>
      </a:dk2>
      <a:lt2>
        <a:srgbClr val="E7E6E6"/>
      </a:lt2>
      <a:accent1>
        <a:srgbClr val="00A2C8"/>
      </a:accent1>
      <a:accent2>
        <a:srgbClr val="9BBB2D"/>
      </a:accent2>
      <a:accent3>
        <a:srgbClr val="28315F"/>
      </a:accent3>
      <a:accent4>
        <a:srgbClr val="FFC000"/>
      </a:accent4>
      <a:accent5>
        <a:srgbClr val="C00000"/>
      </a:accent5>
      <a:accent6>
        <a:srgbClr val="954F72"/>
      </a:accent6>
      <a:hlink>
        <a:srgbClr val="0563C1"/>
      </a:hlink>
      <a:folHlink>
        <a:srgbClr val="954F72"/>
      </a:folHlink>
    </a:clrScheme>
    <a:fontScheme name="Arial Narrow">
      <a:majorFont>
        <a:latin typeface="Arial Narrow"/>
        <a:ea typeface=""/>
        <a:cs typeface=""/>
      </a:majorFont>
      <a:minorFont>
        <a:latin typeface="Arial Narrow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F98D91045E98B34793E4B8F0FB59828F" ma:contentTypeVersion="12" ma:contentTypeDescription="Create a new document." ma:contentTypeScope="" ma:versionID="f0388b06593a9dc6a354165e19ac80a6">
  <xsd:schema xmlns:xsd="http://www.w3.org/2001/XMLSchema" xmlns:xs="http://www.w3.org/2001/XMLSchema" xmlns:p="http://schemas.microsoft.com/office/2006/metadata/properties" xmlns:ns2="b1f3c0d4-5ac3-4939-acc5-c9d86ea663cd" xmlns:ns3="25768565-a457-4542-8964-4eec916e0c64" targetNamespace="http://schemas.microsoft.com/office/2006/metadata/properties" ma:root="true" ma:fieldsID="af9d9b5d6ec6362e1fbdc01f27527871" ns2:_="" ns3:_="">
    <xsd:import namespace="b1f3c0d4-5ac3-4939-acc5-c9d86ea663cd"/>
    <xsd:import namespace="25768565-a457-4542-8964-4eec916e0c64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Location" minOccurs="0"/>
                <xsd:element ref="ns3:SharedWithUsers" minOccurs="0"/>
                <xsd:element ref="ns3:SharedWithDetails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1f3c0d4-5ac3-4939-acc5-c9d86ea663cd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Tags" ma:internalName="MediaServiceAutoTags" ma:readOnly="true">
      <xsd:simpleType>
        <xsd:restriction base="dms:Text"/>
      </xsd:simpleType>
    </xsd:element>
    <xsd:element name="MediaServiceOCR" ma:index="12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Location" ma:index="13" nillable="true" ma:displayName="Location" ma:internalName="MediaServiceLocation" ma:readOnly="true">
      <xsd:simpleType>
        <xsd:restriction base="dms:Text"/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8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9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5768565-a457-4542-8964-4eec916e0c64" elementFormDefault="qualified">
    <xsd:import namespace="http://schemas.microsoft.com/office/2006/documentManagement/types"/>
    <xsd:import namespace="http://schemas.microsoft.com/office/infopath/2007/PartnerControls"/>
    <xsd:element name="SharedWithUsers" ma:index="14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5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CA5E57B-DC04-464C-9FF8-5E3907830C06}">
  <ds:schemaRefs>
    <ds:schemaRef ds:uri="25768565-a457-4542-8964-4eec916e0c64"/>
    <ds:schemaRef ds:uri="b1f3c0d4-5ac3-4939-acc5-c9d86ea663cd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customXml/itemProps2.xml><?xml version="1.0" encoding="utf-8"?>
<ds:datastoreItem xmlns:ds="http://schemas.openxmlformats.org/officeDocument/2006/customXml" ds:itemID="{4CB2D58F-C02A-4333-8CB7-65D7EE215E50}">
  <ds:schemaRefs>
    <ds:schemaRef ds:uri="http://schemas.openxmlformats.org/package/2006/metadata/core-properties"/>
    <ds:schemaRef ds:uri="http://purl.org/dc/elements/1.1/"/>
    <ds:schemaRef ds:uri="http://www.w3.org/XML/1998/namespace"/>
    <ds:schemaRef ds:uri="http://purl.org/dc/dcmitype/"/>
    <ds:schemaRef ds:uri="http://schemas.microsoft.com/office/infopath/2007/PartnerControls"/>
    <ds:schemaRef ds:uri="b1f3c0d4-5ac3-4939-acc5-c9d86ea663cd"/>
    <ds:schemaRef ds:uri="http://schemas.microsoft.com/office/2006/documentManagement/types"/>
    <ds:schemaRef ds:uri="25768565-a457-4542-8964-4eec916e0c64"/>
    <ds:schemaRef ds:uri="http://schemas.microsoft.com/office/2006/metadata/properties"/>
    <ds:schemaRef ds:uri="http://purl.org/dc/terms/"/>
  </ds:schemaRefs>
</ds:datastoreItem>
</file>

<file path=customXml/itemProps3.xml><?xml version="1.0" encoding="utf-8"?>
<ds:datastoreItem xmlns:ds="http://schemas.openxmlformats.org/officeDocument/2006/customXml" ds:itemID="{7025A095-0A80-4BB7-87CB-24B36DBFB869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7346</TotalTime>
  <Words>289</Words>
  <Application>Microsoft Office PowerPoint</Application>
  <PresentationFormat>Widescreen</PresentationFormat>
  <Paragraphs>57</Paragraphs>
  <Slides>5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10" baseType="lpstr">
      <vt:lpstr>Arial</vt:lpstr>
      <vt:lpstr>Arial Narrow</vt:lpstr>
      <vt:lpstr>Calibri</vt:lpstr>
      <vt:lpstr>Office Theme</vt:lpstr>
      <vt:lpstr>think-cell Slide</vt:lpstr>
      <vt:lpstr>MTF Online forum EVs and their infrastructure</vt:lpstr>
      <vt:lpstr>PowerPoint Presentation</vt:lpstr>
      <vt:lpstr>PowerPoint Presentation</vt:lpstr>
      <vt:lpstr>PowerPoint Presentation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en Fulford</dc:creator>
  <cp:lastModifiedBy>Ross De Rango</cp:lastModifiedBy>
  <cp:revision>52</cp:revision>
  <cp:lastPrinted>2017-03-02T04:06:50Z</cp:lastPrinted>
  <dcterms:created xsi:type="dcterms:W3CDTF">2016-07-29T03:25:52Z</dcterms:created>
  <dcterms:modified xsi:type="dcterms:W3CDTF">2024-08-20T01:05:0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F98D91045E98B34793E4B8F0FB59828F</vt:lpwstr>
  </property>
</Properties>
</file>